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2"/>
  </p:notesMasterIdLst>
  <p:handoutMasterIdLst>
    <p:handoutMasterId r:id="rId13"/>
  </p:handoutMasterIdLst>
  <p:sldIdLst>
    <p:sldId id="260" r:id="rId6"/>
    <p:sldId id="268" r:id="rId7"/>
    <p:sldId id="266" r:id="rId8"/>
    <p:sldId id="267" r:id="rId9"/>
    <p:sldId id="265" r:id="rId10"/>
    <p:sldId id="269" r:id="rId11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14"/>
    </p:embeddedFont>
    <p:embeddedFont>
      <p:font typeface="Orsted Sans Office" panose="00000500000000000000" pitchFamily="2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910" autoAdjust="0"/>
  </p:normalViewPr>
  <p:slideViewPr>
    <p:cSldViewPr snapToGrid="0" showGuides="1">
      <p:cViewPr>
        <p:scale>
          <a:sx n="89" d="100"/>
          <a:sy n="89" d="100"/>
        </p:scale>
        <p:origin x="82" y="49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font" Target="fonts/font2.fntdata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font" Target="fonts/font1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olina Kowalska" userId="0cb73bdb-2d7d-4052-aa5d-aa38b82931be" providerId="ADAL" clId="{B93950BF-6E6E-45D8-B520-AD180C8D95BF}"/>
    <pc:docChg chg="undo custSel addSld modSld sldOrd">
      <pc:chgData name="Karolina Kowalska" userId="0cb73bdb-2d7d-4052-aa5d-aa38b82931be" providerId="ADAL" clId="{B93950BF-6E6E-45D8-B520-AD180C8D95BF}" dt="2023-12-08T12:15:01.192" v="220" actId="1076"/>
      <pc:docMkLst>
        <pc:docMk/>
      </pc:docMkLst>
      <pc:sldChg chg="ord">
        <pc:chgData name="Karolina Kowalska" userId="0cb73bdb-2d7d-4052-aa5d-aa38b82931be" providerId="ADAL" clId="{B93950BF-6E6E-45D8-B520-AD180C8D95BF}" dt="2023-12-08T12:01:52.482" v="3"/>
        <pc:sldMkLst>
          <pc:docMk/>
          <pc:sldMk cId="3340167932" sldId="261"/>
        </pc:sldMkLst>
      </pc:sldChg>
      <pc:sldChg chg="modSp mod">
        <pc:chgData name="Karolina Kowalska" userId="0cb73bdb-2d7d-4052-aa5d-aa38b82931be" providerId="ADAL" clId="{B93950BF-6E6E-45D8-B520-AD180C8D95BF}" dt="2023-12-08T12:05:52.696" v="8" actId="1076"/>
        <pc:sldMkLst>
          <pc:docMk/>
          <pc:sldMk cId="3892509254" sldId="262"/>
        </pc:sldMkLst>
        <pc:spChg chg="mod">
          <ac:chgData name="Karolina Kowalska" userId="0cb73bdb-2d7d-4052-aa5d-aa38b82931be" providerId="ADAL" clId="{B93950BF-6E6E-45D8-B520-AD180C8D95BF}" dt="2023-12-08T12:05:46.196" v="7" actId="14100"/>
          <ac:spMkLst>
            <pc:docMk/>
            <pc:sldMk cId="3892509254" sldId="262"/>
            <ac:spMk id="9" creationId="{3538046C-E1B6-8F8A-C44C-9B426674EB90}"/>
          </ac:spMkLst>
        </pc:spChg>
        <pc:spChg chg="mod">
          <ac:chgData name="Karolina Kowalska" userId="0cb73bdb-2d7d-4052-aa5d-aa38b82931be" providerId="ADAL" clId="{B93950BF-6E6E-45D8-B520-AD180C8D95BF}" dt="2023-12-08T12:05:32.700" v="4" actId="1076"/>
          <ac:spMkLst>
            <pc:docMk/>
            <pc:sldMk cId="3892509254" sldId="262"/>
            <ac:spMk id="10" creationId="{9971830F-72AC-E786-8921-C08E9584A225}"/>
          </ac:spMkLst>
        </pc:spChg>
        <pc:spChg chg="mod">
          <ac:chgData name="Karolina Kowalska" userId="0cb73bdb-2d7d-4052-aa5d-aa38b82931be" providerId="ADAL" clId="{B93950BF-6E6E-45D8-B520-AD180C8D95BF}" dt="2023-12-08T12:05:52.696" v="8" actId="1076"/>
          <ac:spMkLst>
            <pc:docMk/>
            <pc:sldMk cId="3892509254" sldId="262"/>
            <ac:spMk id="17" creationId="{7E1916C3-E60F-486E-5062-5EF758BC3679}"/>
          </ac:spMkLst>
        </pc:spChg>
        <pc:spChg chg="mod">
          <ac:chgData name="Karolina Kowalska" userId="0cb73bdb-2d7d-4052-aa5d-aa38b82931be" providerId="ADAL" clId="{B93950BF-6E6E-45D8-B520-AD180C8D95BF}" dt="2023-12-08T12:05:39.539" v="5" actId="1076"/>
          <ac:spMkLst>
            <pc:docMk/>
            <pc:sldMk cId="3892509254" sldId="262"/>
            <ac:spMk id="18" creationId="{628930F1-A789-130D-EC86-7A58736BA6D9}"/>
          </ac:spMkLst>
        </pc:spChg>
      </pc:sldChg>
      <pc:sldChg chg="ord">
        <pc:chgData name="Karolina Kowalska" userId="0cb73bdb-2d7d-4052-aa5d-aa38b82931be" providerId="ADAL" clId="{B93950BF-6E6E-45D8-B520-AD180C8D95BF}" dt="2023-12-08T12:01:06.791" v="1"/>
        <pc:sldMkLst>
          <pc:docMk/>
          <pc:sldMk cId="3931987471" sldId="265"/>
        </pc:sldMkLst>
      </pc:sldChg>
      <pc:sldChg chg="addSp delSp modSp add mod">
        <pc:chgData name="Karolina Kowalska" userId="0cb73bdb-2d7d-4052-aa5d-aa38b82931be" providerId="ADAL" clId="{B93950BF-6E6E-45D8-B520-AD180C8D95BF}" dt="2023-12-08T12:15:01.192" v="220" actId="1076"/>
        <pc:sldMkLst>
          <pc:docMk/>
          <pc:sldMk cId="1402850395" sldId="269"/>
        </pc:sldMkLst>
        <pc:spChg chg="del mod">
          <ac:chgData name="Karolina Kowalska" userId="0cb73bdb-2d7d-4052-aa5d-aa38b82931be" providerId="ADAL" clId="{B93950BF-6E6E-45D8-B520-AD180C8D95BF}" dt="2023-12-08T12:08:36.136" v="47" actId="478"/>
          <ac:spMkLst>
            <pc:docMk/>
            <pc:sldMk cId="1402850395" sldId="269"/>
            <ac:spMk id="2" creationId="{F1A3BDBC-600A-BE62-EE29-5AED2D2B4153}"/>
          </ac:spMkLst>
        </pc:spChg>
        <pc:spChg chg="mod">
          <ac:chgData name="Karolina Kowalska" userId="0cb73bdb-2d7d-4052-aa5d-aa38b82931be" providerId="ADAL" clId="{B93950BF-6E6E-45D8-B520-AD180C8D95BF}" dt="2023-12-08T12:10:49.662" v="91" actId="1076"/>
          <ac:spMkLst>
            <pc:docMk/>
            <pc:sldMk cId="1402850395" sldId="269"/>
            <ac:spMk id="4" creationId="{D101E75B-EAE6-119A-8A17-CA2AEAC53950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5" creationId="{A5734795-8816-4550-9B09-94B000773C87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6" creationId="{2B9A889A-2D28-0106-466D-CB0A133A42E6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7" creationId="{772D8780-646A-D07E-D69B-4A3BD7C98E08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9" creationId="{3538046C-E1B6-8F8A-C44C-9B426674EB90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10" creationId="{9971830F-72AC-E786-8921-C08E9584A225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11" creationId="{DEB3DE93-25DE-895B-892D-4FC6FDB8D2C4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12" creationId="{085E08D3-EB9D-006D-F036-0F08431A4C38}"/>
          </ac:spMkLst>
        </pc:spChg>
        <pc:spChg chg="mod">
          <ac:chgData name="Karolina Kowalska" userId="0cb73bdb-2d7d-4052-aa5d-aa38b82931be" providerId="ADAL" clId="{B93950BF-6E6E-45D8-B520-AD180C8D95BF}" dt="2023-12-08T12:14:55.107" v="219" actId="1076"/>
          <ac:spMkLst>
            <pc:docMk/>
            <pc:sldMk cId="1402850395" sldId="269"/>
            <ac:spMk id="15" creationId="{884E9B06-B38B-2057-236E-9A8ECE1EDBC7}"/>
          </ac:spMkLst>
        </pc:spChg>
        <pc:spChg chg="mod">
          <ac:chgData name="Karolina Kowalska" userId="0cb73bdb-2d7d-4052-aa5d-aa38b82931be" providerId="ADAL" clId="{B93950BF-6E6E-45D8-B520-AD180C8D95BF}" dt="2023-12-08T12:09:25.837" v="87" actId="207"/>
          <ac:spMkLst>
            <pc:docMk/>
            <pc:sldMk cId="1402850395" sldId="269"/>
            <ac:spMk id="16" creationId="{613D295B-22D7-C1B5-B8F7-45B7743C9ECA}"/>
          </ac:spMkLst>
        </pc:spChg>
        <pc:spChg chg="mod">
          <ac:chgData name="Karolina Kowalska" userId="0cb73bdb-2d7d-4052-aa5d-aa38b82931be" providerId="ADAL" clId="{B93950BF-6E6E-45D8-B520-AD180C8D95BF}" dt="2023-12-08T12:11:32.237" v="95" actId="1076"/>
          <ac:spMkLst>
            <pc:docMk/>
            <pc:sldMk cId="1402850395" sldId="269"/>
            <ac:spMk id="17" creationId="{7E1916C3-E60F-486E-5062-5EF758BC3679}"/>
          </ac:spMkLst>
        </pc:spChg>
        <pc:spChg chg="add del mod">
          <ac:chgData name="Karolina Kowalska" userId="0cb73bdb-2d7d-4052-aa5d-aa38b82931be" providerId="ADAL" clId="{B93950BF-6E6E-45D8-B520-AD180C8D95BF}" dt="2023-12-08T12:15:01.192" v="220" actId="1076"/>
          <ac:spMkLst>
            <pc:docMk/>
            <pc:sldMk cId="1402850395" sldId="269"/>
            <ac:spMk id="18" creationId="{628930F1-A789-130D-EC86-7A58736BA6D9}"/>
          </ac:spMkLst>
        </pc:spChg>
        <pc:picChg chg="mod">
          <ac:chgData name="Karolina Kowalska" userId="0cb73bdb-2d7d-4052-aa5d-aa38b82931be" providerId="ADAL" clId="{B93950BF-6E6E-45D8-B520-AD180C8D95BF}" dt="2023-12-08T12:10:58.393" v="92" actId="1076"/>
          <ac:picMkLst>
            <pc:docMk/>
            <pc:sldMk cId="1402850395" sldId="269"/>
            <ac:picMk id="14" creationId="{9763CC6F-5B74-A05E-EFAE-415199C04CB6}"/>
          </ac:picMkLst>
        </pc:picChg>
        <pc:cxnChg chg="add mod">
          <ac:chgData name="Karolina Kowalska" userId="0cb73bdb-2d7d-4052-aa5d-aa38b82931be" providerId="ADAL" clId="{B93950BF-6E6E-45D8-B520-AD180C8D95BF}" dt="2023-12-08T12:13:56.117" v="208" actId="1076"/>
          <ac:cxnSpMkLst>
            <pc:docMk/>
            <pc:sldMk cId="1402850395" sldId="269"/>
            <ac:cxnSpMk id="8" creationId="{D7F8D609-24CA-CB95-BF35-D8E45E81B94C}"/>
          </ac:cxnSpMkLst>
        </pc:cxnChg>
        <pc:cxnChg chg="add mod">
          <ac:chgData name="Karolina Kowalska" userId="0cb73bdb-2d7d-4052-aa5d-aa38b82931be" providerId="ADAL" clId="{B93950BF-6E6E-45D8-B520-AD180C8D95BF}" dt="2023-12-08T12:13:41.462" v="207" actId="1036"/>
          <ac:cxnSpMkLst>
            <pc:docMk/>
            <pc:sldMk cId="1402850395" sldId="269"/>
            <ac:cxnSpMk id="13" creationId="{BC033982-F290-048C-764C-1B0406129FD0}"/>
          </ac:cxnSpMkLst>
        </pc:cxnChg>
        <pc:cxnChg chg="add mod">
          <ac:chgData name="Karolina Kowalska" userId="0cb73bdb-2d7d-4052-aa5d-aa38b82931be" providerId="ADAL" clId="{B93950BF-6E6E-45D8-B520-AD180C8D95BF}" dt="2023-12-08T12:14:07.833" v="211" actId="14100"/>
          <ac:cxnSpMkLst>
            <pc:docMk/>
            <pc:sldMk cId="1402850395" sldId="269"/>
            <ac:cxnSpMk id="19" creationId="{9E0D9C1B-32E5-6D70-48AC-9FD1A5B9922D}"/>
          </ac:cxnSpMkLst>
        </pc:cxnChg>
        <pc:cxnChg chg="add mod">
          <ac:chgData name="Karolina Kowalska" userId="0cb73bdb-2d7d-4052-aa5d-aa38b82931be" providerId="ADAL" clId="{B93950BF-6E6E-45D8-B520-AD180C8D95BF}" dt="2023-12-08T12:14:16.644" v="213" actId="1076"/>
          <ac:cxnSpMkLst>
            <pc:docMk/>
            <pc:sldMk cId="1402850395" sldId="269"/>
            <ac:cxnSpMk id="21" creationId="{3947575B-6E2A-2D77-8C12-928CE4D42D4D}"/>
          </ac:cxnSpMkLst>
        </pc:cxnChg>
      </pc:sldChg>
    </pc:docChg>
  </pc:docChgLst>
  <pc:docChgLst>
    <pc:chgData name="Karolina Kowalska" userId="0cb73bdb-2d7d-4052-aa5d-aa38b82931be" providerId="ADAL" clId="{96BA6D26-EC16-41FE-86EF-37A6CBD62E9C}"/>
    <pc:docChg chg="custSel modSld">
      <pc:chgData name="Karolina Kowalska" userId="0cb73bdb-2d7d-4052-aa5d-aa38b82931be" providerId="ADAL" clId="{96BA6D26-EC16-41FE-86EF-37A6CBD62E9C}" dt="2023-07-06T07:31:06.628" v="20" actId="11529"/>
      <pc:docMkLst>
        <pc:docMk/>
      </pc:docMkLst>
      <pc:sldChg chg="modSp mod">
        <pc:chgData name="Karolina Kowalska" userId="0cb73bdb-2d7d-4052-aa5d-aa38b82931be" providerId="ADAL" clId="{96BA6D26-EC16-41FE-86EF-37A6CBD62E9C}" dt="2023-07-06T07:20:42.063" v="11" actId="20577"/>
        <pc:sldMkLst>
          <pc:docMk/>
          <pc:sldMk cId="3594876438" sldId="260"/>
        </pc:sldMkLst>
        <pc:spChg chg="mod">
          <ac:chgData name="Karolina Kowalska" userId="0cb73bdb-2d7d-4052-aa5d-aa38b82931be" providerId="ADAL" clId="{96BA6D26-EC16-41FE-86EF-37A6CBD62E9C}" dt="2023-07-06T07:20:42.063" v="11" actId="20577"/>
          <ac:spMkLst>
            <pc:docMk/>
            <pc:sldMk cId="3594876438" sldId="260"/>
            <ac:spMk id="7" creationId="{4246144F-B47F-4776-B702-44E5D0190821}"/>
          </ac:spMkLst>
        </pc:spChg>
      </pc:sldChg>
      <pc:sldChg chg="addSp delSp modSp mod">
        <pc:chgData name="Karolina Kowalska" userId="0cb73bdb-2d7d-4052-aa5d-aa38b82931be" providerId="ADAL" clId="{96BA6D26-EC16-41FE-86EF-37A6CBD62E9C}" dt="2023-07-06T07:31:06.628" v="20" actId="11529"/>
        <pc:sldMkLst>
          <pc:docMk/>
          <pc:sldMk cId="3340167932" sldId="261"/>
        </pc:sldMkLst>
        <pc:spChg chg="add">
          <ac:chgData name="Karolina Kowalska" userId="0cb73bdb-2d7d-4052-aa5d-aa38b82931be" providerId="ADAL" clId="{96BA6D26-EC16-41FE-86EF-37A6CBD62E9C}" dt="2023-07-06T07:31:06.628" v="20" actId="11529"/>
          <ac:spMkLst>
            <pc:docMk/>
            <pc:sldMk cId="3340167932" sldId="261"/>
            <ac:spMk id="4" creationId="{D101E75B-EAE6-119A-8A17-CA2AEAC53950}"/>
          </ac:spMkLst>
        </pc:spChg>
        <pc:spChg chg="del">
          <ac:chgData name="Karolina Kowalska" userId="0cb73bdb-2d7d-4052-aa5d-aa38b82931be" providerId="ADAL" clId="{96BA6D26-EC16-41FE-86EF-37A6CBD62E9C}" dt="2023-07-06T07:20:49.540" v="12" actId="478"/>
          <ac:spMkLst>
            <pc:docMk/>
            <pc:sldMk cId="3340167932" sldId="261"/>
            <ac:spMk id="6" creationId="{A522CE44-FA8F-4B34-8E51-B69689B88FA5}"/>
          </ac:spMkLst>
        </pc:spChg>
        <pc:spChg chg="del">
          <ac:chgData name="Karolina Kowalska" userId="0cb73bdb-2d7d-4052-aa5d-aa38b82931be" providerId="ADAL" clId="{96BA6D26-EC16-41FE-86EF-37A6CBD62E9C}" dt="2023-07-06T07:20:53.195" v="13" actId="478"/>
          <ac:spMkLst>
            <pc:docMk/>
            <pc:sldMk cId="3340167932" sldId="261"/>
            <ac:spMk id="7" creationId="{DF434863-97AB-48EB-B581-E3D45F05C177}"/>
          </ac:spMkLst>
        </pc:spChg>
        <pc:picChg chg="add mod">
          <ac:chgData name="Karolina Kowalska" userId="0cb73bdb-2d7d-4052-aa5d-aa38b82931be" providerId="ADAL" clId="{96BA6D26-EC16-41FE-86EF-37A6CBD62E9C}" dt="2023-07-06T07:30:48.504" v="19" actId="11530"/>
          <ac:picMkLst>
            <pc:docMk/>
            <pc:sldMk cId="3340167932" sldId="261"/>
            <ac:picMk id="3" creationId="{5B911129-9F14-3980-C88E-3332836D50D0}"/>
          </ac:picMkLst>
        </pc:picChg>
      </pc:sldChg>
    </pc:docChg>
  </pc:docChgLst>
  <pc:docChgLst>
    <pc:chgData name="Karolina Kowalska" userId="0cb73bdb-2d7d-4052-aa5d-aa38b82931be" providerId="ADAL" clId="{BE740D36-731A-40B3-9A05-36B9F9F32CB9}"/>
    <pc:docChg chg="undo custSel addSld delSld modSld sldOrd">
      <pc:chgData name="Karolina Kowalska" userId="0cb73bdb-2d7d-4052-aa5d-aa38b82931be" providerId="ADAL" clId="{BE740D36-731A-40B3-9A05-36B9F9F32CB9}" dt="2023-12-08T09:43:19.225" v="794"/>
      <pc:docMkLst>
        <pc:docMk/>
      </pc:docMkLst>
      <pc:sldChg chg="del">
        <pc:chgData name="Karolina Kowalska" userId="0cb73bdb-2d7d-4052-aa5d-aa38b82931be" providerId="ADAL" clId="{BE740D36-731A-40B3-9A05-36B9F9F32CB9}" dt="2023-12-08T08:27:47.156" v="0" actId="47"/>
        <pc:sldMkLst>
          <pc:docMk/>
          <pc:sldMk cId="2795569294" sldId="257"/>
        </pc:sldMkLst>
      </pc:sldChg>
      <pc:sldChg chg="addSp delSp modSp mod ord">
        <pc:chgData name="Karolina Kowalska" userId="0cb73bdb-2d7d-4052-aa5d-aa38b82931be" providerId="ADAL" clId="{BE740D36-731A-40B3-9A05-36B9F9F32CB9}" dt="2023-12-08T09:43:19.225" v="794"/>
        <pc:sldMkLst>
          <pc:docMk/>
          <pc:sldMk cId="3340167932" sldId="261"/>
        </pc:sldMkLst>
        <pc:spChg chg="add mod">
          <ac:chgData name="Karolina Kowalska" userId="0cb73bdb-2d7d-4052-aa5d-aa38b82931be" providerId="ADAL" clId="{BE740D36-731A-40B3-9A05-36B9F9F32CB9}" dt="2023-12-08T08:38:11" v="376" actId="1076"/>
          <ac:spMkLst>
            <pc:docMk/>
            <pc:sldMk cId="3340167932" sldId="261"/>
            <ac:spMk id="2" creationId="{F1A3BDBC-600A-BE62-EE29-5AED2D2B4153}"/>
          </ac:spMkLst>
        </pc:spChg>
        <pc:spChg chg="mod">
          <ac:chgData name="Karolina Kowalska" userId="0cb73bdb-2d7d-4052-aa5d-aa38b82931be" providerId="ADAL" clId="{BE740D36-731A-40B3-9A05-36B9F9F32CB9}" dt="2023-12-08T08:34:20.175" v="185" actId="113"/>
          <ac:spMkLst>
            <pc:docMk/>
            <pc:sldMk cId="3340167932" sldId="261"/>
            <ac:spMk id="4" creationId="{D101E75B-EAE6-119A-8A17-CA2AEAC53950}"/>
          </ac:spMkLst>
        </pc:spChg>
        <pc:spChg chg="mod">
          <ac:chgData name="Karolina Kowalska" userId="0cb73bdb-2d7d-4052-aa5d-aa38b82931be" providerId="ADAL" clId="{BE740D36-731A-40B3-9A05-36B9F9F32CB9}" dt="2023-12-08T08:33:42.885" v="184" actId="207"/>
          <ac:spMkLst>
            <pc:docMk/>
            <pc:sldMk cId="3340167932" sldId="261"/>
            <ac:spMk id="5" creationId="{A5734795-8816-4550-9B09-94B000773C87}"/>
          </ac:spMkLst>
        </pc:spChg>
        <pc:spChg chg="add mod">
          <ac:chgData name="Karolina Kowalska" userId="0cb73bdb-2d7d-4052-aa5d-aa38b82931be" providerId="ADAL" clId="{BE740D36-731A-40B3-9A05-36B9F9F32CB9}" dt="2023-12-08T08:38:17.907" v="378" actId="1076"/>
          <ac:spMkLst>
            <pc:docMk/>
            <pc:sldMk cId="3340167932" sldId="261"/>
            <ac:spMk id="6" creationId="{2B9A889A-2D28-0106-466D-CB0A133A42E6}"/>
          </ac:spMkLst>
        </pc:spChg>
        <pc:spChg chg="add mod">
          <ac:chgData name="Karolina Kowalska" userId="0cb73bdb-2d7d-4052-aa5d-aa38b82931be" providerId="ADAL" clId="{BE740D36-731A-40B3-9A05-36B9F9F32CB9}" dt="2023-12-08T08:38:50.306" v="383" actId="1076"/>
          <ac:spMkLst>
            <pc:docMk/>
            <pc:sldMk cId="3340167932" sldId="261"/>
            <ac:spMk id="7" creationId="{772D8780-646A-D07E-D69B-4A3BD7C98E08}"/>
          </ac:spMkLst>
        </pc:spChg>
        <pc:spChg chg="mod">
          <ac:chgData name="Karolina Kowalska" userId="0cb73bdb-2d7d-4052-aa5d-aa38b82931be" providerId="ADAL" clId="{BE740D36-731A-40B3-9A05-36B9F9F32CB9}" dt="2023-12-08T08:33:42.885" v="184" actId="207"/>
          <ac:spMkLst>
            <pc:docMk/>
            <pc:sldMk cId="3340167932" sldId="261"/>
            <ac:spMk id="8" creationId="{4A8F7199-0056-4781-8966-456704A6A1B3}"/>
          </ac:spMkLst>
        </pc:spChg>
        <pc:spChg chg="add mod">
          <ac:chgData name="Karolina Kowalska" userId="0cb73bdb-2d7d-4052-aa5d-aa38b82931be" providerId="ADAL" clId="{BE740D36-731A-40B3-9A05-36B9F9F32CB9}" dt="2023-12-08T08:37:01.288" v="332" actId="1076"/>
          <ac:spMkLst>
            <pc:docMk/>
            <pc:sldMk cId="3340167932" sldId="261"/>
            <ac:spMk id="9" creationId="{3538046C-E1B6-8F8A-C44C-9B426674EB90}"/>
          </ac:spMkLst>
        </pc:spChg>
        <pc:spChg chg="add mod">
          <ac:chgData name="Karolina Kowalska" userId="0cb73bdb-2d7d-4052-aa5d-aa38b82931be" providerId="ADAL" clId="{BE740D36-731A-40B3-9A05-36B9F9F32CB9}" dt="2023-12-08T08:37:07.618" v="334" actId="20577"/>
          <ac:spMkLst>
            <pc:docMk/>
            <pc:sldMk cId="3340167932" sldId="261"/>
            <ac:spMk id="10" creationId="{9971830F-72AC-E786-8921-C08E9584A225}"/>
          </ac:spMkLst>
        </pc:spChg>
        <pc:spChg chg="add del mod">
          <ac:chgData name="Karolina Kowalska" userId="0cb73bdb-2d7d-4052-aa5d-aa38b82931be" providerId="ADAL" clId="{BE740D36-731A-40B3-9A05-36B9F9F32CB9}" dt="2023-12-08T08:42:11.287" v="448" actId="478"/>
          <ac:spMkLst>
            <pc:docMk/>
            <pc:sldMk cId="3340167932" sldId="261"/>
            <ac:spMk id="11" creationId="{DEB3DE93-25DE-895B-892D-4FC6FDB8D2C4}"/>
          </ac:spMkLst>
        </pc:spChg>
        <pc:spChg chg="add mod">
          <ac:chgData name="Karolina Kowalska" userId="0cb73bdb-2d7d-4052-aa5d-aa38b82931be" providerId="ADAL" clId="{BE740D36-731A-40B3-9A05-36B9F9F32CB9}" dt="2023-12-08T08:38:13.897" v="377" actId="1076"/>
          <ac:spMkLst>
            <pc:docMk/>
            <pc:sldMk cId="3340167932" sldId="261"/>
            <ac:spMk id="12" creationId="{085E08D3-EB9D-006D-F036-0F08431A4C38}"/>
          </ac:spMkLst>
        </pc:spChg>
        <pc:spChg chg="add mod">
          <ac:chgData name="Karolina Kowalska" userId="0cb73bdb-2d7d-4052-aa5d-aa38b82931be" providerId="ADAL" clId="{BE740D36-731A-40B3-9A05-36B9F9F32CB9}" dt="2023-12-08T08:44:02.329" v="514" actId="20577"/>
          <ac:spMkLst>
            <pc:docMk/>
            <pc:sldMk cId="3340167932" sldId="261"/>
            <ac:spMk id="13" creationId="{01DB2026-0896-5B5C-9A80-E40FEBB0C562}"/>
          </ac:spMkLst>
        </pc:spChg>
        <pc:picChg chg="mod">
          <ac:chgData name="Karolina Kowalska" userId="0cb73bdb-2d7d-4052-aa5d-aa38b82931be" providerId="ADAL" clId="{BE740D36-731A-40B3-9A05-36B9F9F32CB9}" dt="2023-12-08T08:36:56.335" v="331" actId="1076"/>
          <ac:picMkLst>
            <pc:docMk/>
            <pc:sldMk cId="3340167932" sldId="261"/>
            <ac:picMk id="3" creationId="{5B911129-9F14-3980-C88E-3332836D50D0}"/>
          </ac:picMkLst>
        </pc:picChg>
      </pc:sldChg>
      <pc:sldChg chg="addSp delSp modSp add mod">
        <pc:chgData name="Karolina Kowalska" userId="0cb73bdb-2d7d-4052-aa5d-aa38b82931be" providerId="ADAL" clId="{BE740D36-731A-40B3-9A05-36B9F9F32CB9}" dt="2023-12-08T09:10:10.206" v="740" actId="478"/>
        <pc:sldMkLst>
          <pc:docMk/>
          <pc:sldMk cId="3892509254" sldId="262"/>
        </pc:sldMkLst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2" creationId="{F1A3BDBC-600A-BE62-EE29-5AED2D2B4153}"/>
          </ac:spMkLst>
        </pc:spChg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4" creationId="{D101E75B-EAE6-119A-8A17-CA2AEAC53950}"/>
          </ac:spMkLst>
        </pc:spChg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5" creationId="{A5734795-8816-4550-9B09-94B000773C87}"/>
          </ac:spMkLst>
        </pc:spChg>
        <pc:spChg chg="mod">
          <ac:chgData name="Karolina Kowalska" userId="0cb73bdb-2d7d-4052-aa5d-aa38b82931be" providerId="ADAL" clId="{BE740D36-731A-40B3-9A05-36B9F9F32CB9}" dt="2023-12-08T09:03:04.636" v="653" actId="14100"/>
          <ac:spMkLst>
            <pc:docMk/>
            <pc:sldMk cId="3892509254" sldId="262"/>
            <ac:spMk id="6" creationId="{2B9A889A-2D28-0106-466D-CB0A133A42E6}"/>
          </ac:spMkLst>
        </pc:spChg>
        <pc:spChg chg="mod">
          <ac:chgData name="Karolina Kowalska" userId="0cb73bdb-2d7d-4052-aa5d-aa38b82931be" providerId="ADAL" clId="{BE740D36-731A-40B3-9A05-36B9F9F32CB9}" dt="2023-12-08T09:03:16.047" v="656" actId="14100"/>
          <ac:spMkLst>
            <pc:docMk/>
            <pc:sldMk cId="3892509254" sldId="262"/>
            <ac:spMk id="7" creationId="{772D8780-646A-D07E-D69B-4A3BD7C98E08}"/>
          </ac:spMkLst>
        </pc:spChg>
        <pc:spChg chg="del mod">
          <ac:chgData name="Karolina Kowalska" userId="0cb73bdb-2d7d-4052-aa5d-aa38b82931be" providerId="ADAL" clId="{BE740D36-731A-40B3-9A05-36B9F9F32CB9}" dt="2023-12-08T09:10:10.206" v="740" actId="478"/>
          <ac:spMkLst>
            <pc:docMk/>
            <pc:sldMk cId="3892509254" sldId="262"/>
            <ac:spMk id="8" creationId="{4A8F7199-0056-4781-8966-456704A6A1B3}"/>
          </ac:spMkLst>
        </pc:spChg>
        <pc:spChg chg="mod">
          <ac:chgData name="Karolina Kowalska" userId="0cb73bdb-2d7d-4052-aa5d-aa38b82931be" providerId="ADAL" clId="{BE740D36-731A-40B3-9A05-36B9F9F32CB9}" dt="2023-12-08T09:04:08.846" v="700" actId="6549"/>
          <ac:spMkLst>
            <pc:docMk/>
            <pc:sldMk cId="3892509254" sldId="262"/>
            <ac:spMk id="9" creationId="{3538046C-E1B6-8F8A-C44C-9B426674EB90}"/>
          </ac:spMkLst>
        </pc:spChg>
        <pc:spChg chg="mod">
          <ac:chgData name="Karolina Kowalska" userId="0cb73bdb-2d7d-4052-aa5d-aa38b82931be" providerId="ADAL" clId="{BE740D36-731A-40B3-9A05-36B9F9F32CB9}" dt="2023-12-08T09:04:35.271" v="731" actId="14100"/>
          <ac:spMkLst>
            <pc:docMk/>
            <pc:sldMk cId="3892509254" sldId="262"/>
            <ac:spMk id="10" creationId="{9971830F-72AC-E786-8921-C08E9584A225}"/>
          </ac:spMkLst>
        </pc:spChg>
        <pc:spChg chg="mod">
          <ac:chgData name="Karolina Kowalska" userId="0cb73bdb-2d7d-4052-aa5d-aa38b82931be" providerId="ADAL" clId="{BE740D36-731A-40B3-9A05-36B9F9F32CB9}" dt="2023-12-08T09:03:48.664" v="685" actId="20577"/>
          <ac:spMkLst>
            <pc:docMk/>
            <pc:sldMk cId="3892509254" sldId="262"/>
            <ac:spMk id="11" creationId="{DEB3DE93-25DE-895B-892D-4FC6FDB8D2C4}"/>
          </ac:spMkLst>
        </pc:spChg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12" creationId="{085E08D3-EB9D-006D-F036-0F08431A4C38}"/>
          </ac:spMkLst>
        </pc:spChg>
        <pc:spChg chg="add mod">
          <ac:chgData name="Karolina Kowalska" userId="0cb73bdb-2d7d-4052-aa5d-aa38b82931be" providerId="ADAL" clId="{BE740D36-731A-40B3-9A05-36B9F9F32CB9}" dt="2023-12-08T09:02:58.961" v="651" actId="14100"/>
          <ac:spMkLst>
            <pc:docMk/>
            <pc:sldMk cId="3892509254" sldId="262"/>
            <ac:spMk id="15" creationId="{884E9B06-B38B-2057-236E-9A8ECE1EDBC7}"/>
          </ac:spMkLst>
        </pc:spChg>
        <pc:spChg chg="add mod">
          <ac:chgData name="Karolina Kowalska" userId="0cb73bdb-2d7d-4052-aa5d-aa38b82931be" providerId="ADAL" clId="{BE740D36-731A-40B3-9A05-36B9F9F32CB9}" dt="2023-12-08T09:03:38.456" v="681" actId="20577"/>
          <ac:spMkLst>
            <pc:docMk/>
            <pc:sldMk cId="3892509254" sldId="262"/>
            <ac:spMk id="16" creationId="{613D295B-22D7-C1B5-B8F7-45B7743C9ECA}"/>
          </ac:spMkLst>
        </pc:spChg>
        <pc:spChg chg="add mod">
          <ac:chgData name="Karolina Kowalska" userId="0cb73bdb-2d7d-4052-aa5d-aa38b82931be" providerId="ADAL" clId="{BE740D36-731A-40B3-9A05-36B9F9F32CB9}" dt="2023-12-08T09:04:47.669" v="734" actId="20577"/>
          <ac:spMkLst>
            <pc:docMk/>
            <pc:sldMk cId="3892509254" sldId="262"/>
            <ac:spMk id="17" creationId="{7E1916C3-E60F-486E-5062-5EF758BC3679}"/>
          </ac:spMkLst>
        </pc:spChg>
        <pc:spChg chg="add mod">
          <ac:chgData name="Karolina Kowalska" userId="0cb73bdb-2d7d-4052-aa5d-aa38b82931be" providerId="ADAL" clId="{BE740D36-731A-40B3-9A05-36B9F9F32CB9}" dt="2023-12-08T09:04:44.628" v="733" actId="14100"/>
          <ac:spMkLst>
            <pc:docMk/>
            <pc:sldMk cId="3892509254" sldId="262"/>
            <ac:spMk id="18" creationId="{628930F1-A789-130D-EC86-7A58736BA6D9}"/>
          </ac:spMkLst>
        </pc:spChg>
        <pc:spChg chg="add mod">
          <ac:chgData name="Karolina Kowalska" userId="0cb73bdb-2d7d-4052-aa5d-aa38b82931be" providerId="ADAL" clId="{BE740D36-731A-40B3-9A05-36B9F9F32CB9}" dt="2023-12-08T09:05:00.232" v="736"/>
          <ac:spMkLst>
            <pc:docMk/>
            <pc:sldMk cId="3892509254" sldId="262"/>
            <ac:spMk id="19" creationId="{B0C44A98-6759-3E51-9E01-A627648F2B5E}"/>
          </ac:spMkLst>
        </pc:spChg>
        <pc:picChg chg="del">
          <ac:chgData name="Karolina Kowalska" userId="0cb73bdb-2d7d-4052-aa5d-aa38b82931be" providerId="ADAL" clId="{BE740D36-731A-40B3-9A05-36B9F9F32CB9}" dt="2023-12-08T08:39:50.795" v="386" actId="478"/>
          <ac:picMkLst>
            <pc:docMk/>
            <pc:sldMk cId="3892509254" sldId="262"/>
            <ac:picMk id="3" creationId="{5B911129-9F14-3980-C88E-3332836D50D0}"/>
          </ac:picMkLst>
        </pc:picChg>
        <pc:picChg chg="add mod">
          <ac:chgData name="Karolina Kowalska" userId="0cb73bdb-2d7d-4052-aa5d-aa38b82931be" providerId="ADAL" clId="{BE740D36-731A-40B3-9A05-36B9F9F32CB9}" dt="2023-12-08T09:00:36.246" v="630" actId="1076"/>
          <ac:picMkLst>
            <pc:docMk/>
            <pc:sldMk cId="3892509254" sldId="262"/>
            <ac:picMk id="14" creationId="{9763CC6F-5B74-A05E-EFAE-415199C04CB6}"/>
          </ac:picMkLst>
        </pc:picChg>
      </pc:sldChg>
      <pc:sldChg chg="delSp modSp add mod">
        <pc:chgData name="Karolina Kowalska" userId="0cb73bdb-2d7d-4052-aa5d-aa38b82931be" providerId="ADAL" clId="{BE740D36-731A-40B3-9A05-36B9F9F32CB9}" dt="2023-12-08T09:32:15.613" v="766" actId="20577"/>
        <pc:sldMkLst>
          <pc:docMk/>
          <pc:sldMk cId="2317521781" sldId="263"/>
        </pc:sldMkLst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2" creationId="{F1A3BDBC-600A-BE62-EE29-5AED2D2B4153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4" creationId="{D101E75B-EAE6-119A-8A17-CA2AEAC53950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5" creationId="{A5734795-8816-4550-9B09-94B000773C87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6" creationId="{2B9A889A-2D28-0106-466D-CB0A133A42E6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7" creationId="{772D8780-646A-D07E-D69B-4A3BD7C98E08}"/>
          </ac:spMkLst>
        </pc:spChg>
        <pc:spChg chg="del mod">
          <ac:chgData name="Karolina Kowalska" userId="0cb73bdb-2d7d-4052-aa5d-aa38b82931be" providerId="ADAL" clId="{BE740D36-731A-40B3-9A05-36B9F9F32CB9}" dt="2023-12-08T09:10:04.416" v="739" actId="478"/>
          <ac:spMkLst>
            <pc:docMk/>
            <pc:sldMk cId="2317521781" sldId="263"/>
            <ac:spMk id="8" creationId="{4A8F7199-0056-4781-8966-456704A6A1B3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9" creationId="{3538046C-E1B6-8F8A-C44C-9B426674EB90}"/>
          </ac:spMkLst>
        </pc:spChg>
        <pc:spChg chg="mod">
          <ac:chgData name="Karolina Kowalska" userId="0cb73bdb-2d7d-4052-aa5d-aa38b82931be" providerId="ADAL" clId="{BE740D36-731A-40B3-9A05-36B9F9F32CB9}" dt="2023-12-08T09:32:15.613" v="766" actId="20577"/>
          <ac:spMkLst>
            <pc:docMk/>
            <pc:sldMk cId="2317521781" sldId="263"/>
            <ac:spMk id="10" creationId="{9971830F-72AC-E786-8921-C08E9584A225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1" creationId="{DEB3DE93-25DE-895B-892D-4FC6FDB8D2C4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2" creationId="{085E08D3-EB9D-006D-F036-0F08431A4C38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5" creationId="{884E9B06-B38B-2057-236E-9A8ECE1EDBC7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6" creationId="{613D295B-22D7-C1B5-B8F7-45B7743C9ECA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7" creationId="{7E1916C3-E60F-486E-5062-5EF758BC3679}"/>
          </ac:spMkLst>
        </pc:spChg>
        <pc:spChg chg="mod">
          <ac:chgData name="Karolina Kowalska" userId="0cb73bdb-2d7d-4052-aa5d-aa38b82931be" providerId="ADAL" clId="{BE740D36-731A-40B3-9A05-36B9F9F32CB9}" dt="2023-12-08T09:31:57.909" v="765" actId="20577"/>
          <ac:spMkLst>
            <pc:docMk/>
            <pc:sldMk cId="2317521781" sldId="263"/>
            <ac:spMk id="18" creationId="{628930F1-A789-130D-EC86-7A58736BA6D9}"/>
          </ac:spMkLst>
        </pc:spChg>
        <pc:picChg chg="mod">
          <ac:chgData name="Karolina Kowalska" userId="0cb73bdb-2d7d-4052-aa5d-aa38b82931be" providerId="ADAL" clId="{BE740D36-731A-40B3-9A05-36B9F9F32CB9}" dt="2023-12-08T09:05:11.641" v="738" actId="208"/>
          <ac:picMkLst>
            <pc:docMk/>
            <pc:sldMk cId="2317521781" sldId="263"/>
            <ac:picMk id="14" creationId="{9763CC6F-5B74-A05E-EFAE-415199C04CB6}"/>
          </ac:picMkLst>
        </pc:picChg>
      </pc:sldChg>
      <pc:sldChg chg="delSp add mod">
        <pc:chgData name="Karolina Kowalska" userId="0cb73bdb-2d7d-4052-aa5d-aa38b82931be" providerId="ADAL" clId="{BE740D36-731A-40B3-9A05-36B9F9F32CB9}" dt="2023-12-08T09:37:36.081" v="768" actId="478"/>
        <pc:sldMkLst>
          <pc:docMk/>
          <pc:sldMk cId="1424463984" sldId="264"/>
        </pc:sldMkLst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2" creationId="{F1A3BDBC-600A-BE62-EE29-5AED2D2B4153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4" creationId="{D101E75B-EAE6-119A-8A17-CA2AEAC53950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5" creationId="{A5734795-8816-4550-9B09-94B000773C87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6" creationId="{2B9A889A-2D28-0106-466D-CB0A133A42E6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7" creationId="{772D8780-646A-D07E-D69B-4A3BD7C98E08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9" creationId="{3538046C-E1B6-8F8A-C44C-9B426674EB90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0" creationId="{9971830F-72AC-E786-8921-C08E9584A225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1" creationId="{DEB3DE93-25DE-895B-892D-4FC6FDB8D2C4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2" creationId="{085E08D3-EB9D-006D-F036-0F08431A4C38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5" creationId="{884E9B06-B38B-2057-236E-9A8ECE1EDBC7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6" creationId="{613D295B-22D7-C1B5-B8F7-45B7743C9ECA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7" creationId="{7E1916C3-E60F-486E-5062-5EF758BC3679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8" creationId="{628930F1-A789-130D-EC86-7A58736BA6D9}"/>
          </ac:spMkLst>
        </pc:spChg>
        <pc:picChg chg="del">
          <ac:chgData name="Karolina Kowalska" userId="0cb73bdb-2d7d-4052-aa5d-aa38b82931be" providerId="ADAL" clId="{BE740D36-731A-40B3-9A05-36B9F9F32CB9}" dt="2023-12-08T09:37:36.081" v="768" actId="478"/>
          <ac:picMkLst>
            <pc:docMk/>
            <pc:sldMk cId="1424463984" sldId="264"/>
            <ac:picMk id="14" creationId="{9763CC6F-5B74-A05E-EFAE-415199C04CB6}"/>
          </ac:picMkLst>
        </pc:picChg>
      </pc:sldChg>
      <pc:sldChg chg="delSp modSp add mod">
        <pc:chgData name="Karolina Kowalska" userId="0cb73bdb-2d7d-4052-aa5d-aa38b82931be" providerId="ADAL" clId="{BE740D36-731A-40B3-9A05-36B9F9F32CB9}" dt="2023-12-08T09:40:47.254" v="776" actId="478"/>
        <pc:sldMkLst>
          <pc:docMk/>
          <pc:sldMk cId="3931987471" sldId="265"/>
        </pc:sldMkLst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4" creationId="{A253A1CC-1EBD-EF4D-2E1C-271A385BEA21}"/>
          </ac:spMkLst>
        </pc:spChg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10" creationId="{85F49571-F3BB-BCCD-B38B-D16F48299DEF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12" creationId="{BF8F0092-4241-9573-6220-A6D29C52C8DE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14" creationId="{092A13B4-2148-ADC1-1088-4537B0EA1AEB}"/>
          </ac:spMkLst>
        </pc:spChg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16" creationId="{266C7395-CDA3-BC34-28C8-F8029A6964C7}"/>
          </ac:spMkLst>
        </pc:spChg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18" creationId="{F84D078C-0BD4-D05A-A857-1109FCB467C4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20" creationId="{F9B7AC35-BE5B-25D3-83AC-948276570908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22" creationId="{76A60F35-5452-61E9-9305-DBEE7D4CB2CA}"/>
          </ac:spMkLst>
        </pc:sp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11" creationId="{7C332DD7-093B-4870-B410-A185BEB64309}"/>
          </ac:picMkLst>
        </pc:pic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13" creationId="{D29807D4-FBA9-4FDD-F704-4F1C4892D6D8}"/>
          </ac:picMkLst>
        </pc:pic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19" creationId="{14478683-921A-CBB3-9AAB-ADD9AF6CA534}"/>
          </ac:picMkLst>
        </pc:pic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21" creationId="{D3E8E318-8F94-2728-85B1-0B9E9D49B748}"/>
          </ac:picMkLst>
        </pc:picChg>
      </pc:sldChg>
      <pc:sldChg chg="add">
        <pc:chgData name="Karolina Kowalska" userId="0cb73bdb-2d7d-4052-aa5d-aa38b82931be" providerId="ADAL" clId="{BE740D36-731A-40B3-9A05-36B9F9F32CB9}" dt="2023-12-08T09:39:57.237" v="773" actId="2890"/>
        <pc:sldMkLst>
          <pc:docMk/>
          <pc:sldMk cId="2433388892" sldId="266"/>
        </pc:sldMkLst>
      </pc:sldChg>
      <pc:sldChg chg="add">
        <pc:chgData name="Karolina Kowalska" userId="0cb73bdb-2d7d-4052-aa5d-aa38b82931be" providerId="ADAL" clId="{BE740D36-731A-40B3-9A05-36B9F9F32CB9}" dt="2023-12-08T09:39:59.011" v="774" actId="2890"/>
        <pc:sldMkLst>
          <pc:docMk/>
          <pc:sldMk cId="767810190" sldId="267"/>
        </pc:sldMkLst>
      </pc:sldChg>
      <pc:sldChg chg="modSp add mod">
        <pc:chgData name="Karolina Kowalska" userId="0cb73bdb-2d7d-4052-aa5d-aa38b82931be" providerId="ADAL" clId="{BE740D36-731A-40B3-9A05-36B9F9F32CB9}" dt="2023-12-08T09:42:34.272" v="792" actId="113"/>
        <pc:sldMkLst>
          <pc:docMk/>
          <pc:sldMk cId="683455332" sldId="268"/>
        </pc:sldMkLst>
        <pc:spChg chg="mod">
          <ac:chgData name="Karolina Kowalska" userId="0cb73bdb-2d7d-4052-aa5d-aa38b82931be" providerId="ADAL" clId="{BE740D36-731A-40B3-9A05-36B9F9F32CB9}" dt="2023-12-08T09:41:10.622" v="781" actId="20577"/>
          <ac:spMkLst>
            <pc:docMk/>
            <pc:sldMk cId="683455332" sldId="268"/>
            <ac:spMk id="6" creationId="{A522CE44-FA8F-4B34-8E51-B69689B88FA5}"/>
          </ac:spMkLst>
        </pc:spChg>
        <pc:spChg chg="mod">
          <ac:chgData name="Karolina Kowalska" userId="0cb73bdb-2d7d-4052-aa5d-aa38b82931be" providerId="ADAL" clId="{BE740D36-731A-40B3-9A05-36B9F9F32CB9}" dt="2023-12-08T09:42:27.987" v="790" actId="207"/>
          <ac:spMkLst>
            <pc:docMk/>
            <pc:sldMk cId="683455332" sldId="268"/>
            <ac:spMk id="28" creationId="{EFF9C739-C60B-948D-5E18-5BE5FAAAC70A}"/>
          </ac:spMkLst>
        </pc:spChg>
        <pc:spChg chg="mod">
          <ac:chgData name="Karolina Kowalska" userId="0cb73bdb-2d7d-4052-aa5d-aa38b82931be" providerId="ADAL" clId="{BE740D36-731A-40B3-9A05-36B9F9F32CB9}" dt="2023-12-08T09:42:27.987" v="790" actId="207"/>
          <ac:spMkLst>
            <pc:docMk/>
            <pc:sldMk cId="683455332" sldId="268"/>
            <ac:spMk id="29" creationId="{DF51B62C-1E5E-D78A-21DD-EF6A4E16181E}"/>
          </ac:spMkLst>
        </pc:spChg>
        <pc:spChg chg="mod">
          <ac:chgData name="Karolina Kowalska" userId="0cb73bdb-2d7d-4052-aa5d-aa38b82931be" providerId="ADAL" clId="{BE740D36-731A-40B3-9A05-36B9F9F32CB9}" dt="2023-12-08T09:42:27.987" v="790" actId="207"/>
          <ac:spMkLst>
            <pc:docMk/>
            <pc:sldMk cId="683455332" sldId="268"/>
            <ac:spMk id="30" creationId="{6C1BC5FF-39E9-AF33-4F02-3283E04C6493}"/>
          </ac:spMkLst>
        </pc:spChg>
        <pc:spChg chg="mod">
          <ac:chgData name="Karolina Kowalska" userId="0cb73bdb-2d7d-4052-aa5d-aa38b82931be" providerId="ADAL" clId="{BE740D36-731A-40B3-9A05-36B9F9F32CB9}" dt="2023-12-08T09:42:34.272" v="792" actId="113"/>
          <ac:spMkLst>
            <pc:docMk/>
            <pc:sldMk cId="683455332" sldId="268"/>
            <ac:spMk id="31" creationId="{E4AEB43D-2797-6134-B432-BBD5C71802A7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2" creationId="{07A80285-C40E-E96F-51A1-8D689D52790E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3" creationId="{D1D8988C-ADEE-3839-A5C7-4EAE91C3C671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4" creationId="{2DD9BD14-79CB-7FA2-4B96-5455AEC0F607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5" creationId="{2F458282-D2D2-B200-092E-7828648B5BA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21 February 2024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21 February 2024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50" Type="http://schemas.openxmlformats.org/officeDocument/2006/relationships/tags" Target="../tags/tag16.xml"/><Relationship Id="rId55" Type="http://schemas.openxmlformats.org/officeDocument/2006/relationships/tags" Target="../tags/tag2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53" Type="http://schemas.openxmlformats.org/officeDocument/2006/relationships/tags" Target="../tags/tag19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56" Type="http://schemas.openxmlformats.org/officeDocument/2006/relationships/tags" Target="../tags/tag2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46" Type="http://schemas.openxmlformats.org/officeDocument/2006/relationships/tags" Target="../tags/tag1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7.xml"/><Relationship Id="rId54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49" Type="http://schemas.openxmlformats.org/officeDocument/2006/relationships/tags" Target="../tags/tag15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0.xml"/><Relationship Id="rId5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Facebook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2000" y="214891"/>
            <a:ext cx="8280000" cy="576000"/>
          </a:xfrm>
        </p:spPr>
        <p:txBody>
          <a:bodyPr/>
          <a:lstStyle/>
          <a:p>
            <a:r>
              <a:rPr lang="pl-PL" dirty="0" err="1"/>
              <a:t>Main</a:t>
            </a:r>
            <a:r>
              <a:rPr lang="pl-PL" dirty="0"/>
              <a:t> </a:t>
            </a:r>
            <a:r>
              <a:rPr lang="pl-PL" dirty="0" err="1"/>
              <a:t>Competencies</a:t>
            </a:r>
            <a:r>
              <a:rPr lang="pl-PL" dirty="0"/>
              <a:t> &amp; </a:t>
            </a:r>
            <a:r>
              <a:rPr lang="pl-PL" dirty="0" err="1"/>
              <a:t>Skill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48800" y="4561200"/>
            <a:ext cx="3996000" cy="3672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6757200" y="4806187"/>
            <a:ext cx="786600" cy="1224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F9C739-C60B-948D-5E18-5BE5FAAAC70A}"/>
              </a:ext>
            </a:extLst>
          </p:cNvPr>
          <p:cNvSpPr/>
          <p:nvPr/>
        </p:nvSpPr>
        <p:spPr>
          <a:xfrm>
            <a:off x="432000" y="828000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noProof="0" dirty="0" err="1">
                <a:solidFill>
                  <a:schemeClr val="accent3">
                    <a:lumMod val="75000"/>
                  </a:schemeClr>
                </a:solidFill>
              </a:rPr>
              <a:t>Education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51B62C-1E5E-D78A-21DD-EF6A4E16181E}"/>
              </a:ext>
            </a:extLst>
          </p:cNvPr>
          <p:cNvSpPr/>
          <p:nvPr/>
        </p:nvSpPr>
        <p:spPr>
          <a:xfrm>
            <a:off x="2521150" y="827088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noProof="0" dirty="0" err="1">
                <a:solidFill>
                  <a:schemeClr val="accent3">
                    <a:lumMod val="75000"/>
                  </a:schemeClr>
                </a:solidFill>
              </a:rPr>
              <a:t>Experience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C1BC5FF-39E9-AF33-4F02-3283E04C6493}"/>
              </a:ext>
            </a:extLst>
          </p:cNvPr>
          <p:cNvSpPr/>
          <p:nvPr/>
        </p:nvSpPr>
        <p:spPr>
          <a:xfrm>
            <a:off x="4717806" y="827088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Competencies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AEB43D-2797-6134-B432-BBD5C71802A7}"/>
              </a:ext>
            </a:extLst>
          </p:cNvPr>
          <p:cNvSpPr/>
          <p:nvPr/>
        </p:nvSpPr>
        <p:spPr>
          <a:xfrm>
            <a:off x="6913075" y="827087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Area</a:t>
            </a:r>
            <a:r>
              <a:rPr lang="pl-PL" sz="1300" b="1" dirty="0">
                <a:solidFill>
                  <a:schemeClr val="accent3">
                    <a:lumMod val="75000"/>
                  </a:schemeClr>
                </a:solidFill>
              </a:rPr>
              <a:t> of </a:t>
            </a: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interest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A80285-C40E-E96F-51A1-8D689D52790E}"/>
              </a:ext>
            </a:extLst>
          </p:cNvPr>
          <p:cNvSpPr/>
          <p:nvPr/>
        </p:nvSpPr>
        <p:spPr>
          <a:xfrm>
            <a:off x="431800" y="1530534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D8988C-ADEE-3839-A5C7-4EAE91C3C671}"/>
              </a:ext>
            </a:extLst>
          </p:cNvPr>
          <p:cNvSpPr/>
          <p:nvPr/>
        </p:nvSpPr>
        <p:spPr>
          <a:xfrm>
            <a:off x="2520950" y="1529622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DD9BD14-79CB-7FA2-4B96-5455AEC0F607}"/>
              </a:ext>
            </a:extLst>
          </p:cNvPr>
          <p:cNvSpPr/>
          <p:nvPr/>
        </p:nvSpPr>
        <p:spPr>
          <a:xfrm>
            <a:off x="4717606" y="1529622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458282-D2D2-B200-092E-7828648B5BA3}"/>
              </a:ext>
            </a:extLst>
          </p:cNvPr>
          <p:cNvSpPr/>
          <p:nvPr/>
        </p:nvSpPr>
        <p:spPr>
          <a:xfrm>
            <a:off x="6912875" y="1529621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34553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2000" y="214891"/>
            <a:ext cx="8280000" cy="576000"/>
          </a:xfrm>
        </p:spPr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48800" y="4561200"/>
            <a:ext cx="3996000" cy="3672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6757200" y="4806187"/>
            <a:ext cx="786600" cy="122422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3388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2000" y="214891"/>
            <a:ext cx="8280000" cy="576000"/>
          </a:xfrm>
        </p:spPr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48800" y="4561200"/>
            <a:ext cx="3996000" cy="3672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6757200" y="4806187"/>
            <a:ext cx="786600" cy="122422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78101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2000" y="214891"/>
            <a:ext cx="8280000" cy="576000"/>
          </a:xfrm>
        </p:spPr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48800" y="4561200"/>
            <a:ext cx="3996000" cy="3672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6757200" y="4806187"/>
            <a:ext cx="786600" cy="122422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87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763CC6F-5B74-A05E-EFAE-415199C04C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9095" y="147968"/>
            <a:ext cx="1151542" cy="1139851"/>
          </a:xfrm>
          <a:prstGeom prst="ellipse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7F8D609-24CA-CB95-BF35-D8E45E81B94C}"/>
              </a:ext>
            </a:extLst>
          </p:cNvPr>
          <p:cNvCxnSpPr/>
          <p:nvPr/>
        </p:nvCxnSpPr>
        <p:spPr>
          <a:xfrm>
            <a:off x="431800" y="2559957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033982-F290-048C-764C-1B0406129FD0}"/>
              </a:ext>
            </a:extLst>
          </p:cNvPr>
          <p:cNvCxnSpPr/>
          <p:nvPr/>
        </p:nvCxnSpPr>
        <p:spPr>
          <a:xfrm>
            <a:off x="464461" y="3682089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0D9C1B-32E5-6D70-48AC-9FD1A5B9922D}"/>
              </a:ext>
            </a:extLst>
          </p:cNvPr>
          <p:cNvCxnSpPr>
            <a:cxnSpLocks/>
          </p:cNvCxnSpPr>
          <p:nvPr/>
        </p:nvCxnSpPr>
        <p:spPr>
          <a:xfrm>
            <a:off x="3864429" y="1668577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947575B-6E2A-2D77-8C12-928CE4D42D4D}"/>
              </a:ext>
            </a:extLst>
          </p:cNvPr>
          <p:cNvCxnSpPr>
            <a:cxnSpLocks/>
          </p:cNvCxnSpPr>
          <p:nvPr/>
        </p:nvCxnSpPr>
        <p:spPr>
          <a:xfrm>
            <a:off x="3864429" y="2923011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0EAB81F-EC35-3DF3-B48E-5CB6709BD6A7}"/>
              </a:ext>
            </a:extLst>
          </p:cNvPr>
          <p:cNvSpPr txBox="1"/>
          <p:nvPr/>
        </p:nvSpPr>
        <p:spPr>
          <a:xfrm>
            <a:off x="464461" y="2651263"/>
            <a:ext cx="2583319" cy="998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</a:pPr>
            <a:r>
              <a:rPr lang="en-CA" sz="1300" noProof="0" dirty="0">
                <a:solidFill>
                  <a:schemeClr val="tx1"/>
                </a:solidFill>
              </a:rPr>
              <a:t>Engr.: Computational Physics,</a:t>
            </a:r>
            <a:r>
              <a:rPr lang="pl-PL" sz="1300" dirty="0"/>
              <a:t> </a:t>
            </a:r>
            <a:r>
              <a:rPr lang="en-CA" sz="1300" noProof="0" dirty="0">
                <a:solidFill>
                  <a:schemeClr val="tx1"/>
                </a:solidFill>
              </a:rPr>
              <a:t>MSc: Data exploration and interdisciplinary modelling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B632E9-8C9A-724C-F8EC-B6F76AC79AEC}"/>
              </a:ext>
            </a:extLst>
          </p:cNvPr>
          <p:cNvSpPr txBox="1"/>
          <p:nvPr/>
        </p:nvSpPr>
        <p:spPr>
          <a:xfrm>
            <a:off x="452383" y="3892313"/>
            <a:ext cx="3055324" cy="3840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</a:pPr>
            <a:r>
              <a:rPr lang="en-CA" sz="1300" dirty="0">
                <a:solidFill>
                  <a:schemeClr val="tx1"/>
                </a:solidFill>
              </a:rPr>
              <a:t>Programming, automation, </a:t>
            </a:r>
            <a:endParaRPr lang="pl-PL" sz="130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dirty="0">
                <a:solidFill>
                  <a:schemeClr val="tx1"/>
                </a:solidFill>
              </a:rPr>
              <a:t>optimization,</a:t>
            </a:r>
            <a:r>
              <a:rPr lang="pl-PL" sz="1300" dirty="0">
                <a:solidFill>
                  <a:schemeClr val="tx1"/>
                </a:solidFill>
              </a:rPr>
              <a:t> </a:t>
            </a:r>
            <a:r>
              <a:rPr lang="en-CA" sz="1300" dirty="0">
                <a:solidFill>
                  <a:schemeClr val="tx1"/>
                </a:solidFill>
              </a:rPr>
              <a:t>energy systems, science</a:t>
            </a: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E11404-446C-F632-E22A-BD4F6CCAF6B2}"/>
              </a:ext>
            </a:extLst>
          </p:cNvPr>
          <p:cNvSpPr txBox="1"/>
          <p:nvPr/>
        </p:nvSpPr>
        <p:spPr>
          <a:xfrm>
            <a:off x="452383" y="1842195"/>
            <a:ext cx="1361364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noProof="0" dirty="0">
                <a:solidFill>
                  <a:schemeClr val="tx1"/>
                </a:solidFill>
              </a:rPr>
              <a:t>E-ART.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AE1EE44-ABB6-15BA-E9C5-84EBAA171294}"/>
              </a:ext>
            </a:extLst>
          </p:cNvPr>
          <p:cNvSpPr txBox="1"/>
          <p:nvPr/>
        </p:nvSpPr>
        <p:spPr>
          <a:xfrm>
            <a:off x="464461" y="1524030"/>
            <a:ext cx="2572393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b="1" noProof="0" dirty="0">
                <a:solidFill>
                  <a:schemeClr val="tx1"/>
                </a:solidFill>
              </a:rPr>
              <a:t>Full Stack Developer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2A493FE-5CCE-109E-078D-16CB8FF9EE53}"/>
              </a:ext>
            </a:extLst>
          </p:cNvPr>
          <p:cNvSpPr txBox="1"/>
          <p:nvPr/>
        </p:nvSpPr>
        <p:spPr>
          <a:xfrm>
            <a:off x="4148705" y="1831486"/>
            <a:ext cx="2178481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noProof="0" dirty="0">
                <a:solidFill>
                  <a:schemeClr val="tx1"/>
                </a:solidFill>
              </a:rPr>
              <a:t>Software Engineer (5 years)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57E29BA-9F2E-C4F8-9453-38C2D3E62204}"/>
              </a:ext>
            </a:extLst>
          </p:cNvPr>
          <p:cNvSpPr txBox="1"/>
          <p:nvPr/>
        </p:nvSpPr>
        <p:spPr>
          <a:xfrm>
            <a:off x="4021406" y="3104758"/>
            <a:ext cx="4532229" cy="23432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Languages</a:t>
            </a:r>
            <a:r>
              <a:rPr lang="en-CA" sz="1300" i="1" noProof="0" dirty="0">
                <a:solidFill>
                  <a:schemeClr val="tx1"/>
                </a:solidFill>
              </a:rPr>
              <a:t>:</a:t>
            </a:r>
            <a:r>
              <a:rPr lang="en-CA" sz="1300" noProof="0" dirty="0">
                <a:solidFill>
                  <a:schemeClr val="tx1"/>
                </a:solidFill>
              </a:rPr>
              <a:t> Python, Go, Typescript, </a:t>
            </a:r>
            <a:r>
              <a:rPr lang="en-CA" sz="1300" noProof="0" dirty="0" err="1">
                <a:solidFill>
                  <a:schemeClr val="tx1"/>
                </a:solidFill>
              </a:rPr>
              <a:t>Javascript</a:t>
            </a:r>
            <a:r>
              <a:rPr lang="pl-PL" sz="1300" noProof="0" dirty="0">
                <a:solidFill>
                  <a:schemeClr val="tx1"/>
                </a:solidFill>
              </a:rPr>
              <a:t>, </a:t>
            </a:r>
            <a:r>
              <a:rPr lang="en-CA" sz="1300" noProof="0" dirty="0">
                <a:solidFill>
                  <a:schemeClr val="tx1"/>
                </a:solidFill>
              </a:rPr>
              <a:t>Physics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Frameworks:</a:t>
            </a:r>
            <a:r>
              <a:rPr lang="en-CA" sz="1300" u="sng" noProof="0" dirty="0">
                <a:solidFill>
                  <a:schemeClr val="tx1"/>
                </a:solidFill>
              </a:rPr>
              <a:t> </a:t>
            </a:r>
            <a:r>
              <a:rPr lang="en-CA" sz="1300" noProof="0" dirty="0">
                <a:solidFill>
                  <a:schemeClr val="tx1"/>
                </a:solidFill>
              </a:rPr>
              <a:t>Angular, Fast </a:t>
            </a:r>
            <a:r>
              <a:rPr lang="en-CA" sz="1300" noProof="0" dirty="0" err="1">
                <a:solidFill>
                  <a:schemeClr val="tx1"/>
                </a:solidFill>
              </a:rPr>
              <a:t>Api</a:t>
            </a:r>
            <a:r>
              <a:rPr lang="en-CA" sz="1300" noProof="0" dirty="0">
                <a:solidFill>
                  <a:schemeClr val="tx1"/>
                </a:solidFill>
              </a:rPr>
              <a:t>;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Database</a:t>
            </a:r>
            <a:r>
              <a:rPr lang="en-CA" sz="1300" noProof="0" dirty="0">
                <a:solidFill>
                  <a:schemeClr val="tx1"/>
                </a:solidFill>
              </a:rPr>
              <a:t>: </a:t>
            </a:r>
            <a:r>
              <a:rPr lang="en-CA" sz="1300" noProof="0" dirty="0" err="1">
                <a:solidFill>
                  <a:schemeClr val="tx1"/>
                </a:solidFill>
              </a:rPr>
              <a:t>Sql</a:t>
            </a:r>
            <a:r>
              <a:rPr lang="en-CA" sz="1300" noProof="0" dirty="0">
                <a:solidFill>
                  <a:schemeClr val="tx1"/>
                </a:solidFill>
              </a:rPr>
              <a:t> Server;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DevOps:</a:t>
            </a:r>
            <a:r>
              <a:rPr lang="en-CA" sz="1300" u="sng" noProof="0" dirty="0">
                <a:solidFill>
                  <a:schemeClr val="tx1"/>
                </a:solidFill>
              </a:rPr>
              <a:t> </a:t>
            </a:r>
            <a:r>
              <a:rPr lang="en-CA" sz="1300" noProof="0" dirty="0">
                <a:solidFill>
                  <a:schemeClr val="tx1"/>
                </a:solidFill>
              </a:rPr>
              <a:t>Azure </a:t>
            </a:r>
            <a:r>
              <a:rPr lang="en-CA" sz="1300" noProof="0" dirty="0" err="1">
                <a:solidFill>
                  <a:schemeClr val="tx1"/>
                </a:solidFill>
              </a:rPr>
              <a:t>Piplelines</a:t>
            </a:r>
            <a:r>
              <a:rPr lang="en-CA" sz="1300" noProof="0" dirty="0">
                <a:solidFill>
                  <a:schemeClr val="tx1"/>
                </a:solidFill>
              </a:rPr>
              <a:t>, Docker;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pl-PL" sz="1300" i="1" u="sng" dirty="0" err="1">
                <a:solidFill>
                  <a:schemeClr val="tx1"/>
                </a:solidFill>
              </a:rPr>
              <a:t>Other</a:t>
            </a:r>
            <a:r>
              <a:rPr lang="pl-PL" sz="1300" i="1" u="sng" dirty="0">
                <a:solidFill>
                  <a:schemeClr val="tx1"/>
                </a:solidFill>
              </a:rPr>
              <a:t>: </a:t>
            </a:r>
            <a:r>
              <a:rPr lang="pl-PL" sz="1300" i="1" dirty="0">
                <a:solidFill>
                  <a:schemeClr val="tx1"/>
                </a:solidFill>
              </a:rPr>
              <a:t>Machine learning, Mathematical </a:t>
            </a:r>
            <a:r>
              <a:rPr lang="pl-PL" sz="1300" i="1" dirty="0" err="1">
                <a:solidFill>
                  <a:schemeClr val="tx1"/>
                </a:solidFill>
              </a:rPr>
              <a:t>programming</a:t>
            </a:r>
            <a:r>
              <a:rPr lang="pl-PL" sz="1300" i="1" dirty="0">
                <a:solidFill>
                  <a:schemeClr val="tx1"/>
                </a:solidFill>
              </a:rPr>
              <a:t>, </a:t>
            </a:r>
            <a:r>
              <a:rPr lang="en-CA" sz="1300" noProof="0" dirty="0">
                <a:solidFill>
                  <a:schemeClr val="tx1"/>
                </a:solidFill>
              </a:rPr>
              <a:t>Physics</a:t>
            </a:r>
            <a:r>
              <a:rPr lang="pl-PL" sz="1300" dirty="0">
                <a:solidFill>
                  <a:schemeClr val="tx1"/>
                </a:solidFill>
              </a:rPr>
              <a:t> </a:t>
            </a: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FB55FD-FFAF-1671-EE09-1A5093BF3029}"/>
              </a:ext>
            </a:extLst>
          </p:cNvPr>
          <p:cNvSpPr txBox="1"/>
          <p:nvPr/>
        </p:nvSpPr>
        <p:spPr>
          <a:xfrm>
            <a:off x="4938466" y="617674"/>
            <a:ext cx="2516715" cy="7478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2200" b="1" noProof="0" dirty="0">
                <a:solidFill>
                  <a:schemeClr val="tx1"/>
                </a:solidFill>
              </a:rPr>
              <a:t>Jan Bielecki</a:t>
            </a:r>
            <a:r>
              <a:rPr lang="pl-PL" sz="2200" b="1" dirty="0">
                <a:solidFill>
                  <a:schemeClr val="tx1"/>
                </a:solidFill>
              </a:rPr>
              <a:t> (JBIEL)</a:t>
            </a:r>
            <a:endParaRPr lang="en-CA" sz="2200" b="1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DE277D-08F0-6D96-42F1-A430AB47DF6F}"/>
              </a:ext>
            </a:extLst>
          </p:cNvPr>
          <p:cNvSpPr txBox="1"/>
          <p:nvPr/>
        </p:nvSpPr>
        <p:spPr>
          <a:xfrm>
            <a:off x="5416680" y="1443757"/>
            <a:ext cx="910506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 err="1">
                <a:solidFill>
                  <a:srgbClr val="4099DA"/>
                </a:solidFill>
              </a:rPr>
              <a:t>Experience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3C0007-87F6-FF34-A125-C42EF3849B7E}"/>
              </a:ext>
            </a:extLst>
          </p:cNvPr>
          <p:cNvSpPr txBox="1"/>
          <p:nvPr/>
        </p:nvSpPr>
        <p:spPr>
          <a:xfrm>
            <a:off x="4954497" y="2629822"/>
            <a:ext cx="2178481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>
                <a:solidFill>
                  <a:srgbClr val="4099DA"/>
                </a:solidFill>
              </a:rPr>
              <a:t>Professional </a:t>
            </a:r>
            <a:r>
              <a:rPr lang="pl-PL" sz="1300" b="1" i="1" dirty="0" err="1">
                <a:solidFill>
                  <a:srgbClr val="4099DA"/>
                </a:solidFill>
              </a:rPr>
              <a:t>competencies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319252-BEE1-57BD-907B-3F0AA3298EBE}"/>
              </a:ext>
            </a:extLst>
          </p:cNvPr>
          <p:cNvSpPr txBox="1"/>
          <p:nvPr/>
        </p:nvSpPr>
        <p:spPr>
          <a:xfrm>
            <a:off x="1560621" y="2346499"/>
            <a:ext cx="844783" cy="192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b="1" i="1" dirty="0">
                <a:solidFill>
                  <a:srgbClr val="4099DA"/>
                </a:solidFill>
              </a:rPr>
              <a:t>Education:</a:t>
            </a: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8E2244-A3C1-9EF2-18F1-50355BB77A16}"/>
              </a:ext>
            </a:extLst>
          </p:cNvPr>
          <p:cNvSpPr txBox="1"/>
          <p:nvPr/>
        </p:nvSpPr>
        <p:spPr>
          <a:xfrm>
            <a:off x="1069728" y="3469441"/>
            <a:ext cx="1895412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>
                <a:solidFill>
                  <a:srgbClr val="4099DA"/>
                </a:solidFill>
              </a:rPr>
              <a:t>Professional</a:t>
            </a:r>
            <a:r>
              <a:rPr lang="pl-PL" sz="1300" b="1" i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pl-PL" sz="1300" b="1" i="1" dirty="0" err="1">
                <a:solidFill>
                  <a:srgbClr val="4099DA"/>
                </a:solidFill>
              </a:rPr>
              <a:t>interest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2850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Decafy xmlns="d28a985e-5dd5-4de5-8d45-33c71db132d5">false</IsDecafy>
    <_dlc_DocId xmlns="b9fa2689-23e1-470a-a57e-b1145bf90d8a">Deca00003229-972600388-12685</_dlc_DocId>
    <_dlc_DocIdUrl xmlns="b9fa2689-23e1-470a-a57e-b1145bf90d8a">
      <Url>https://dongenergy.sharepoint.com/sites/WSClientDoc/_layouts/15/DocIdRedir.aspx?ID=Deca00003229-972600388-12685</Url>
      <Description>Deca00003229-972600388-1268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43072E641F443A8FF06C6F6FAB00C" ma:contentTypeVersion="12" ma:contentTypeDescription="Create a new document." ma:contentTypeScope="" ma:versionID="44f7f8b9bcd875eb0177f86d65eb8c66">
  <xsd:schema xmlns:xsd="http://www.w3.org/2001/XMLSchema" xmlns:xs="http://www.w3.org/2001/XMLSchema" xmlns:p="http://schemas.microsoft.com/office/2006/metadata/properties" xmlns:ns2="b9fa2689-23e1-470a-a57e-b1145bf90d8a" xmlns:ns3="d28a985e-5dd5-4de5-8d45-33c71db132d5" targetNamespace="http://schemas.microsoft.com/office/2006/metadata/properties" ma:root="true" ma:fieldsID="274fda35af0db3fea021229faa95f249" ns2:_="" ns3:_="">
    <xsd:import namespace="b9fa2689-23e1-470a-a57e-b1145bf90d8a"/>
    <xsd:import namespace="d28a985e-5dd5-4de5-8d45-33c71db132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sDecafy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a985e-5dd5-4de5-8d45-33c71db132d5" elementFormDefault="qualified">
    <xsd:import namespace="http://schemas.microsoft.com/office/2006/documentManagement/types"/>
    <xsd:import namespace="http://schemas.microsoft.com/office/infopath/2007/PartnerControls"/>
    <xsd:element name="IsDecafy" ma:index="11" nillable="true" ma:displayName="IsDecafy" ma:default="true" ma:description="This is a hidden column to identify if the Library has Decafy." ma:hidden="true" ma:internalName="IsDecafy">
      <xsd:simpleType>
        <xsd:restriction base="dms:Boolean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695FD6D3-617E-4D46-AB12-0659D9023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17</TotalTime>
  <Words>125</Words>
  <Application>Microsoft Office PowerPoint</Application>
  <PresentationFormat>On-screen Show (16:9)</PresentationFormat>
  <Paragraphs>5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Orsted Sans Office</vt:lpstr>
      <vt:lpstr>Arial</vt:lpstr>
      <vt:lpstr>Arial Black</vt:lpstr>
      <vt:lpstr>Orsted</vt:lpstr>
      <vt:lpstr>think-cell Slide</vt:lpstr>
      <vt:lpstr>Facebook</vt:lpstr>
      <vt:lpstr>Main Competencies &amp; Skills</vt:lpstr>
      <vt:lpstr>Team</vt:lpstr>
      <vt:lpstr>Team</vt:lpstr>
      <vt:lpstr>Tea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Kowalska</dc:creator>
  <cp:keywords/>
  <cp:lastModifiedBy>Kamila Kazimierska</cp:lastModifiedBy>
  <cp:revision>9</cp:revision>
  <dcterms:created xsi:type="dcterms:W3CDTF">2023-07-06T07:19:52Z</dcterms:created>
  <dcterms:modified xsi:type="dcterms:W3CDTF">2024-02-21T12:57:1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7-07T11:50:06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015dd513-f958-4c39-9ce9-a1159bb998d8</vt:lpwstr>
  </property>
  <property fmtid="{D5CDD505-2E9C-101B-9397-08002B2CF9AE}" pid="11" name="MSIP_Label_b8d9a29f-7d17-4193-85e4-1bef0fc2e901_ContentBits">
    <vt:lpwstr>1</vt:lpwstr>
  </property>
</Properties>
</file>